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 id="2147483688" r:id="rId5"/>
  </p:sldMasterIdLst>
  <p:notesMasterIdLst>
    <p:notesMasterId r:id="rId10"/>
  </p:notesMasterIdLst>
  <p:sldIdLst>
    <p:sldId id="4882" r:id="rId6"/>
    <p:sldId id="4885" r:id="rId7"/>
    <p:sldId id="4886" r:id="rId8"/>
    <p:sldId id="4887" r:id="rId9"/>
  </p:sldIdLst>
  <p:sldSz cx="6858000" cy="9906000" type="A4"/>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95" autoAdjust="0"/>
    <p:restoredTop sz="96357" autoAdjust="0"/>
  </p:normalViewPr>
  <p:slideViewPr>
    <p:cSldViewPr snapToGrid="0">
      <p:cViewPr varScale="1">
        <p:scale>
          <a:sx n="57" d="100"/>
          <a:sy n="57" d="100"/>
        </p:scale>
        <p:origin x="2899" y="58"/>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25/04/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4/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4/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4/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4/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4/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4/2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4/2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4/2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4/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4/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4/25/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1250743004"/>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itre</a:t>
                      </a:r>
                      <a:r>
                        <a:rPr lang="en-US" sz="1000" b="1" noProof="0" dirty="0">
                          <a:solidFill>
                            <a:schemeClr val="tx1"/>
                          </a:solidFill>
                          <a:latin typeface="EYInterstate" panose="02000503020000020004" pitchFamily="2" charset="0"/>
                        </a:rPr>
                        <a:t> du poste :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l’exper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Firas El Mehdi</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02/02/199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unisie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2" name="Rectangle 1">
            <a:extLst>
              <a:ext uri="{FF2B5EF4-FFF2-40B4-BE49-F238E27FC236}">
                <a16:creationId xmlns:a16="http://schemas.microsoft.com/office/drawing/2014/main" id="{830AC28A-5E06-89BF-B41C-F03C0A396CFA}"/>
              </a:ext>
            </a:extLst>
          </p:cNvPr>
          <p:cNvSpPr/>
          <p:nvPr/>
        </p:nvSpPr>
        <p:spPr>
          <a:xfrm>
            <a:off x="469855" y="1558947"/>
            <a:ext cx="809068"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3" name="Table 41">
            <a:extLst>
              <a:ext uri="{FF2B5EF4-FFF2-40B4-BE49-F238E27FC236}">
                <a16:creationId xmlns:a16="http://schemas.microsoft.com/office/drawing/2014/main" id="{F66281E6-065D-31BF-E0F0-E340CD525314}"/>
              </a:ext>
            </a:extLst>
          </p:cNvPr>
          <p:cNvGraphicFramePr>
            <a:graphicFrameLocks noGrp="1"/>
          </p:cNvGraphicFramePr>
          <p:nvPr>
            <p:extLst>
              <p:ext uri="{D42A27DB-BD31-4B8C-83A1-F6EECF244321}">
                <p14:modId xmlns:p14="http://schemas.microsoft.com/office/powerpoint/2010/main" val="2402683882"/>
              </p:ext>
            </p:extLst>
          </p:nvPr>
        </p:nvGraphicFramePr>
        <p:xfrm>
          <a:off x="584199" y="1794396"/>
          <a:ext cx="5724523" cy="637663"/>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68503">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err="1">
                          <a:effectLst/>
                          <a:latin typeface="EYInterstate" panose="02000503020000020004" pitchFamily="2" charset="0"/>
                          <a:ea typeface="Times New Roman" panose="02020603050405020304" pitchFamily="18" charset="0"/>
                          <a:cs typeface="Arial" panose="020B0604020202020204" pitchFamily="34" charset="0"/>
                        </a:rPr>
                        <a:t>Établissement</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Diplôme</a:t>
                      </a: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 </a:t>
                      </a: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1203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Master </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Université Paris-Dauphin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19</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fr-FR" altLang="fr-FR" sz="1000" b="0" dirty="0">
                          <a:solidFill>
                            <a:schemeClr val="tx1"/>
                          </a:solidFill>
                          <a:latin typeface="EYInterstate" panose="02000503020000020004" pitchFamily="2" charset="0"/>
                          <a:cs typeface="Arial" charset="0"/>
                        </a:rPr>
                        <a:t>Finance, parcours “Banques, Assurances et Marchés de Capitaux”</a:t>
                      </a:r>
                      <a:r>
                        <a:rPr lang="en-US" altLang="fr-FR" sz="1000" b="0" dirty="0">
                          <a:solidFill>
                            <a:schemeClr val="tx1"/>
                          </a:solidFill>
                          <a:latin typeface="EYInterstate" panose="02000503020000020004" pitchFamily="2" charset="0"/>
                          <a:cs typeface="Arial" charset="0"/>
                        </a:rPr>
                        <a:t> </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4" name="Rectangle 3">
            <a:extLst>
              <a:ext uri="{FF2B5EF4-FFF2-40B4-BE49-F238E27FC236}">
                <a16:creationId xmlns:a16="http://schemas.microsoft.com/office/drawing/2014/main" id="{0A8CCD7F-1EF7-6D99-FDD5-7B9F09512A74}"/>
              </a:ext>
            </a:extLst>
          </p:cNvPr>
          <p:cNvSpPr/>
          <p:nvPr/>
        </p:nvSpPr>
        <p:spPr>
          <a:xfrm>
            <a:off x="474984" y="2410384"/>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 :</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5" name="Table 43">
            <a:extLst>
              <a:ext uri="{FF2B5EF4-FFF2-40B4-BE49-F238E27FC236}">
                <a16:creationId xmlns:a16="http://schemas.microsoft.com/office/drawing/2014/main" id="{A43B3EF6-D8C1-0F96-0BF3-A5298CEFB0CC}"/>
              </a:ext>
            </a:extLst>
          </p:cNvPr>
          <p:cNvGraphicFramePr>
            <a:graphicFrameLocks noGrp="1"/>
          </p:cNvGraphicFramePr>
          <p:nvPr>
            <p:extLst>
              <p:ext uri="{D42A27DB-BD31-4B8C-83A1-F6EECF244321}">
                <p14:modId xmlns:p14="http://schemas.microsoft.com/office/powerpoint/2010/main" val="4207272858"/>
              </p:ext>
            </p:extLst>
          </p:nvPr>
        </p:nvGraphicFramePr>
        <p:xfrm>
          <a:off x="566736" y="2692086"/>
          <a:ext cx="5759449" cy="6788845"/>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30135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6484045">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19-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 Consulting</a:t>
                      </a: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 </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WIFAK BANK (Tunisie, 2023) : Accompagnement dans le cadre du projet d’élaboration du plan stratégique « Horizon 2027 » d’un Groupe financier islamique en Tunisie</a:t>
                      </a:r>
                    </a:p>
                    <a:p>
                      <a:pPr marL="447212" lvl="1" indent="-180789" algn="just" defTabSz="900044" rtl="0" eaLnBrk="1" fontAlgn="base" latinLnBrk="0" hangingPunct="1">
                        <a:lnSpc>
                          <a:spcPts val="931"/>
                        </a:lnSpc>
                        <a:spcBef>
                          <a:spcPct val="0"/>
                        </a:spcBef>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Diagnostic approfondi des composantes du groupe financier islamique tunisien</a:t>
                      </a:r>
                    </a:p>
                    <a:p>
                      <a:pPr marL="904636" lvl="2"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iagnostic de l’environnement</a:t>
                      </a:r>
                    </a:p>
                    <a:p>
                      <a:pPr marL="904636" lvl="2"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iagnostic stratégique et opérationnel</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esign stratégique du groupe financier islamique tunisien: conception de la vision et des objectifs stratégiques</a:t>
                      </a:r>
                    </a:p>
                    <a:p>
                      <a:pPr marL="904636" lvl="2"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finition de la vision stratégique 2027</a:t>
                      </a:r>
                    </a:p>
                    <a:p>
                      <a:pPr marL="904636" lvl="2"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finition de la stratégie de développement</a:t>
                      </a:r>
                    </a:p>
                    <a:p>
                      <a:pPr marL="447212" lvl="1" indent="-180789" algn="just" defTabSz="900044" rtl="0" eaLnBrk="1" fontAlgn="base" latinLnBrk="0" hangingPunct="1">
                        <a:lnSpc>
                          <a:spcPts val="931"/>
                        </a:lnSpc>
                        <a:spcBef>
                          <a:spcPct val="0"/>
                        </a:spcBef>
                        <a:buClr>
                          <a:srgbClr val="FFE600"/>
                        </a:buClr>
                        <a:buSzPct val="80000"/>
                        <a:buFont typeface="Arial" panose="020B0604020202020204" pitchFamily="34" charset="0"/>
                        <a:buChar char="•"/>
                        <a:tabLst>
                          <a:tab pos="192943" algn="l"/>
                        </a:tabLst>
                        <a:defRPr/>
                      </a:pPr>
                      <a:r>
                        <a:rPr lang="fr-FR" sz="900" kern="1200" dirty="0">
                          <a:solidFill>
                            <a:schemeClr val="tx1"/>
                          </a:solidFill>
                          <a:latin typeface="EYInterstate" panose="02000503020000020004" pitchFamily="2" charset="0"/>
                          <a:ea typeface="+mn-ea"/>
                          <a:cs typeface="Arial" panose="020B0604020202020204" pitchFamily="34" charset="0"/>
                        </a:rPr>
                        <a:t>Conception de la feuille de route du groupe financier tunisien: Business plan et feuille de route</a:t>
                      </a:r>
                    </a:p>
                    <a:p>
                      <a:pPr marL="266557" lvl="1" algn="just" defTabSz="900494">
                        <a:lnSpc>
                          <a:spcPts val="931"/>
                        </a:lnSpc>
                        <a:buClr>
                          <a:srgbClr val="FFE600"/>
                        </a:buClr>
                        <a:buSzPct val="80000"/>
                        <a:tabLst>
                          <a:tab pos="193040" algn="l"/>
                        </a:tabLst>
                        <a:defRPr/>
                      </a:pPr>
                      <a:endParaRPr lang="fr-FR" sz="900" b="1" dirty="0">
                        <a:solidFill>
                          <a:srgbClr val="2E2E38"/>
                        </a:solidFill>
                        <a:latin typeface="EYInterstate" panose="02000503020000020004" pitchFamily="2"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Amen Bank (Tunisie, 2022) : Optimisation des « Opérations » afin d'améliorer l’Expérience Client</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iagnostic des processus actuel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Proposition de pistes d'amélioration</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Accompagnement dans la mise en œuvre des solutions retenue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Optimiser les processus clients : Entrée en relation, crédit à la consommation, crédit immobilier, crédit auto</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endParaRPr lang="fr-FR" sz="900" b="1" dirty="0">
                        <a:solidFill>
                          <a:srgbClr val="2E2E38"/>
                        </a:solidFill>
                        <a:latin typeface="EYInterstate" panose="02000503020000020004" pitchFamily="2"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Arab Tunisian Bank (Tunisie, 2020 – en cours) : Gestion du changement dans le cadre de la migration vers le Global Bancaire Temeno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iagnostic du cadre socioculturel de l’ATB</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finition et modélisation (selon BPMN) des processus ciblés après l'implémentation de T24 Ms Visio</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Suivi des impacts opérationnels et organisationnels générés par l'implémentation des solutions Temenos : </a:t>
                      </a:r>
                      <a:r>
                        <a:rPr lang="fr-FR" sz="900" dirty="0" err="1">
                          <a:solidFill>
                            <a:srgbClr val="2E2E38"/>
                          </a:solidFill>
                          <a:latin typeface="EYInterstate" panose="02000503020000020004" pitchFamily="2" charset="0"/>
                          <a:cs typeface="Arial" panose="020B0604020202020204" pitchFamily="34" charset="0"/>
                        </a:rPr>
                        <a:t>Treasury</a:t>
                      </a:r>
                      <a:r>
                        <a:rPr lang="fr-FR" sz="900" dirty="0">
                          <a:solidFill>
                            <a:srgbClr val="2E2E38"/>
                          </a:solidFill>
                          <a:latin typeface="EYInterstate" panose="02000503020000020004" pitchFamily="2" charset="0"/>
                          <a:cs typeface="Arial" panose="020B0604020202020204" pitchFamily="34" charset="0"/>
                        </a:rPr>
                        <a:t> batch, Portfolio </a:t>
                      </a:r>
                      <a:r>
                        <a:rPr lang="fr-FR" sz="900" dirty="0" err="1">
                          <a:solidFill>
                            <a:srgbClr val="2E2E38"/>
                          </a:solidFill>
                          <a:latin typeface="EYInterstate" panose="02000503020000020004" pitchFamily="2" charset="0"/>
                          <a:cs typeface="Arial" panose="020B0604020202020204" pitchFamily="34" charset="0"/>
                        </a:rPr>
                        <a:t>investment</a:t>
                      </a:r>
                      <a:r>
                        <a:rPr lang="fr-FR" sz="900" dirty="0">
                          <a:solidFill>
                            <a:srgbClr val="2E2E38"/>
                          </a:solidFill>
                          <a:latin typeface="EYInterstate" panose="02000503020000020004" pitchFamily="2" charset="0"/>
                          <a:cs typeface="Arial" panose="020B0604020202020204" pitchFamily="34" charset="0"/>
                        </a:rPr>
                        <a:t> batch, International batch</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Elaboration des politiques et procédures de la banque : Customer </a:t>
                      </a:r>
                      <a:r>
                        <a:rPr lang="fr-FR" sz="900" dirty="0" err="1">
                          <a:solidFill>
                            <a:srgbClr val="2E2E38"/>
                          </a:solidFill>
                          <a:latin typeface="EYInterstate" panose="02000503020000020004" pitchFamily="2" charset="0"/>
                          <a:cs typeface="Arial" panose="020B0604020202020204" pitchFamily="34" charset="0"/>
                        </a:rPr>
                        <a:t>onboarding</a:t>
                      </a:r>
                      <a:r>
                        <a:rPr lang="fr-FR" sz="900" dirty="0">
                          <a:solidFill>
                            <a:srgbClr val="2E2E38"/>
                          </a:solidFill>
                          <a:latin typeface="EYInterstate" panose="02000503020000020004" pitchFamily="2" charset="0"/>
                          <a:cs typeface="Arial" panose="020B0604020202020204" pitchFamily="34" charset="0"/>
                        </a:rPr>
                        <a:t>, </a:t>
                      </a:r>
                      <a:r>
                        <a:rPr lang="fr-FR" sz="900" dirty="0" err="1">
                          <a:solidFill>
                            <a:srgbClr val="2E2E38"/>
                          </a:solidFill>
                          <a:latin typeface="EYInterstate" panose="02000503020000020004" pitchFamily="2" charset="0"/>
                          <a:cs typeface="Arial" panose="020B0604020202020204" pitchFamily="34" charset="0"/>
                        </a:rPr>
                        <a:t>Account</a:t>
                      </a:r>
                      <a:r>
                        <a:rPr lang="fr-FR" sz="900" dirty="0">
                          <a:solidFill>
                            <a:srgbClr val="2E2E38"/>
                          </a:solidFill>
                          <a:latin typeface="EYInterstate" panose="02000503020000020004" pitchFamily="2" charset="0"/>
                          <a:cs typeface="Arial" panose="020B0604020202020204" pitchFamily="34" charset="0"/>
                        </a:rPr>
                        <a:t> management (ouverture de compte, transfert et clôture, etc.), International batch</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Supervision de l'élaboration : crédit, lot international, transaction au comptant, recouvrement</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veloppement et mise en œuvre de la stratégie de gestion du changement</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Participation aux sessions de formation pour la prise en main des fonctionnalités du nouveau Global Bancaire</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Mise en œuvre et suivi du plan d'action</a:t>
                      </a: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en-US" sz="950" u="sng" kern="1200" dirty="0">
                        <a:solidFill>
                          <a:schemeClr val="tx1"/>
                        </a:solidFill>
                        <a:effectLst/>
                        <a:latin typeface="EYInterstate" panose="02000503020000020004" pitchFamily="2" charset="0"/>
                        <a:ea typeface="+mn-ea"/>
                        <a:cs typeface="+mn-cs"/>
                        <a:sym typeface="+mn-ea"/>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en-US" sz="950" u="sng" kern="1200" dirty="0">
                          <a:solidFill>
                            <a:schemeClr val="tx1"/>
                          </a:solidFill>
                          <a:effectLst/>
                          <a:latin typeface="EYInterstate" panose="02000503020000020004" pitchFamily="2" charset="0"/>
                          <a:ea typeface="+mn-ea"/>
                          <a:cs typeface="+mn-cs"/>
                          <a:sym typeface="+mn-ea"/>
                        </a:rPr>
                        <a:t>BNP Paribas (Côte d’Ivoire, 2023) : RPA et Chatbot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en-US" sz="900" dirty="0">
                          <a:solidFill>
                            <a:srgbClr val="2E2E38"/>
                          </a:solidFill>
                          <a:latin typeface="EYInterstate" panose="02000503020000020004" pitchFamily="2" charset="0"/>
                          <a:cs typeface="Arial" panose="020B0604020202020204" pitchFamily="34" charset="0"/>
                        </a:rPr>
                        <a:t>Diagnostic du </a:t>
                      </a:r>
                      <a:r>
                        <a:rPr lang="en-US" sz="900" dirty="0" err="1">
                          <a:solidFill>
                            <a:srgbClr val="2E2E38"/>
                          </a:solidFill>
                          <a:latin typeface="EYInterstate" panose="02000503020000020004" pitchFamily="2" charset="0"/>
                          <a:cs typeface="Arial" panose="020B0604020202020204" pitchFamily="34" charset="0"/>
                        </a:rPr>
                        <a:t>processus</a:t>
                      </a:r>
                      <a:endParaRPr lang="en-US" sz="900" dirty="0">
                        <a:solidFill>
                          <a:srgbClr val="2E2E38"/>
                        </a:solidFill>
                        <a:latin typeface="EYInterstate" panose="02000503020000020004" pitchFamily="2" charset="0"/>
                        <a:cs typeface="Arial" panose="020B0604020202020204" pitchFamily="34" charset="0"/>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Identification des opérations robotisable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éveloppement des POV (Proof of value) pour les robots proposé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Rédaction des spécifications fonctionnelles des robots (User stor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959627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3">
            <a:extLst>
              <a:ext uri="{FF2B5EF4-FFF2-40B4-BE49-F238E27FC236}">
                <a16:creationId xmlns:a16="http://schemas.microsoft.com/office/drawing/2014/main" id="{B764D311-D18B-F5CA-B615-DEF552CF8BE4}"/>
              </a:ext>
            </a:extLst>
          </p:cNvPr>
          <p:cNvGraphicFramePr>
            <a:graphicFrameLocks noGrp="1"/>
          </p:cNvGraphicFramePr>
          <p:nvPr>
            <p:extLst>
              <p:ext uri="{D42A27DB-BD31-4B8C-83A1-F6EECF244321}">
                <p14:modId xmlns:p14="http://schemas.microsoft.com/office/powerpoint/2010/main" val="2316529681"/>
              </p:ext>
            </p:extLst>
          </p:nvPr>
        </p:nvGraphicFramePr>
        <p:xfrm>
          <a:off x="566736" y="708460"/>
          <a:ext cx="5759449" cy="7728268"/>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19-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 Consulting</a:t>
                      </a: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 </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1000" dirty="0">
                          <a:solidFill>
                            <a:srgbClr val="2E2E38"/>
                          </a:solidFill>
                          <a:latin typeface="EYInterstate" panose="02000503020000020004" pitchFamily="2" charset="0"/>
                          <a:cs typeface="Arial" panose="020B0604020202020204" pitchFamily="34" charset="0"/>
                        </a:rPr>
                        <a:t>Suivi avec l'équipe informatique pour assurer la conformité avec les spécifications définies (test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1000" dirty="0">
                          <a:solidFill>
                            <a:srgbClr val="2E2E38"/>
                          </a:solidFill>
                          <a:latin typeface="EYInterstate" panose="02000503020000020004" pitchFamily="2" charset="0"/>
                          <a:cs typeface="Arial" panose="020B0604020202020204" pitchFamily="34" charset="0"/>
                        </a:rPr>
                        <a:t>Gestion du changement pendant la mise en place du robot</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50" u="sng" kern="1200" dirty="0">
                        <a:solidFill>
                          <a:schemeClr val="tx1"/>
                        </a:solidFill>
                        <a:effectLst/>
                        <a:latin typeface="EYInterstate" panose="02000503020000020004" pitchFamily="2" charset="0"/>
                        <a:ea typeface="+mn-ea"/>
                        <a:cs typeface="+mn-cs"/>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Arab Tunisian Bank (Tunisie, 2020) : Transformation des organisations et réingénierie des processu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iagnostic de l’organisation et proposition de scénarios d'organigramme cibl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éfinition de l'organisation cible retenue et dimensionnement des effectif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iagnostic et évaluation critiqu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iagnostic du référentiel des processus/procédures métier et support existant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Elaboration d'un plan de mise en œuvre et d'assistance</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endParaRPr lang="fr-FR" sz="900" b="1" dirty="0">
                        <a:solidFill>
                          <a:srgbClr val="2E2E38"/>
                        </a:solidFill>
                        <a:latin typeface="EYInterstate" panose="02000503020000020004" pitchFamily="2"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UBCI (Tunisie, 2019) : Projet de transformation et de robotisation du Back-Offic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iagnostic des processu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Identification des dysfonctionnements Identification des opérations robotisable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Elaboration des POV (Proof of value) pour les robots proposé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Rédaction des spécifications fonctionnelles des robots (User story)</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Suivi avec l'équipe informatique pour s'assurer de la conformité avec les spécifications définies précédemment (test)</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Gestion de changement pendant la mise en place du robot</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endParaRPr lang="fr-FR" sz="900" dirty="0">
                        <a:solidFill>
                          <a:srgbClr val="2E2E38"/>
                        </a:solidFill>
                        <a:latin typeface="EYInterstate" panose="02000503020000020004" pitchFamily="2" charset="0"/>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AlBaraka Bank (Tunisie, 2020) : Réingénierie des processu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iagnostic des processus actuels (approche Lean Management) : Crédit documentaire import-export, remise import-export, débit direct</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Modélisation (selon BPMN) des processus actuels à l'aide de Ms Visio</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Mise en avant de multiples recommandations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Identification des opérations robotisable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Conception et modélisation (selon BPMN) des processus ciblés</a:t>
                      </a: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fr-FR" sz="950" u="sng" kern="1200" dirty="0">
                        <a:solidFill>
                          <a:schemeClr val="tx1"/>
                        </a:solidFill>
                        <a:effectLst/>
                        <a:latin typeface="EYInterstate" panose="02000503020000020004" pitchFamily="2" charset="0"/>
                        <a:ea typeface="+mn-ea"/>
                        <a:cs typeface="+mn-cs"/>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IAT (Tunisie, 2021) : Élaboration des procédures SWIFT reçues et émises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Optimisation des processus et élaboration de procédures pour la gestion des SWIFT émis et reçus par la Banque en tenant compte de la réglementation en vigueur</a:t>
                      </a:r>
                    </a:p>
                    <a:p>
                      <a:pPr marL="0" lvl="1" algn="just" defTabSz="900494">
                        <a:lnSpc>
                          <a:spcPts val="931"/>
                        </a:lnSpc>
                        <a:buClr>
                          <a:srgbClr val="FFE600"/>
                        </a:buClr>
                        <a:buSzPct val="100000"/>
                        <a:tabLst>
                          <a:tab pos="193040" algn="l"/>
                        </a:tabLst>
                        <a:defRPr/>
                      </a:pPr>
                      <a:endParaRPr lang="fr-FR" sz="900" b="1" dirty="0">
                        <a:solidFill>
                          <a:srgbClr val="2E2E38"/>
                        </a:solidFill>
                        <a:latin typeface="EYInterstate" panose="02000503020000020004" pitchFamily="2"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Compagnie d'assurance tunisienne (Tunisie, 2022) : Projet de robotisation de la gestion des sinistres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Amélioration de l'excellence opérationnelle par la mise en place de robots (développement de spécifications fonctionnelle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endParaRPr lang="fr-FR" sz="800" dirty="0">
                        <a:solidFill>
                          <a:srgbClr val="2E2E38"/>
                        </a:solidFill>
                        <a:latin typeface="EYInterstate" panose="02000503020000020004" pitchFamily="2" charset="0"/>
                        <a:cs typeface="Arial" panose="020B0604020202020204" pitchFamily="34" charset="0"/>
                      </a:endParaRP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H Bank (Tunisie, 2019) : Dynamisation des agences, suivi des ventes et animation commerciale</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iagnostic de l'habillage commercial à travers l'analyse marketing 8P</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Elaborer la politique de dynamisation des agence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finir les procédures et les outils de suivi de la performance des agence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Formation du personnel des agence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Mise en œuvre des projets de dynamisation dans 5 points de vente pilotes</a:t>
                      </a:r>
                    </a:p>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NP Paribas (Côte d'Ivoire, 2022) : Use Case AI | Amélioration du taux d'équipement des client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Conception et développement de la plateforme (AI Engine)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veloppement de la plateforme à travers la supervision de l'équipe de développem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4133670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3">
            <a:extLst>
              <a:ext uri="{FF2B5EF4-FFF2-40B4-BE49-F238E27FC236}">
                <a16:creationId xmlns:a16="http://schemas.microsoft.com/office/drawing/2014/main" id="{B764D311-D18B-F5CA-B615-DEF552CF8BE4}"/>
              </a:ext>
            </a:extLst>
          </p:cNvPr>
          <p:cNvGraphicFramePr>
            <a:graphicFrameLocks noGrp="1"/>
          </p:cNvGraphicFramePr>
          <p:nvPr>
            <p:extLst>
              <p:ext uri="{D42A27DB-BD31-4B8C-83A1-F6EECF244321}">
                <p14:modId xmlns:p14="http://schemas.microsoft.com/office/powerpoint/2010/main" val="2644135024"/>
              </p:ext>
            </p:extLst>
          </p:nvPr>
        </p:nvGraphicFramePr>
        <p:xfrm>
          <a:off x="566736" y="708460"/>
          <a:ext cx="5759449" cy="7819708"/>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19-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 Consulting</a:t>
                      </a: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 </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just"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00" u="sng" kern="1200" dirty="0">
                          <a:solidFill>
                            <a:schemeClr val="tx1"/>
                          </a:solidFill>
                          <a:effectLst/>
                          <a:latin typeface="EYInterstate" panose="02000503020000020004" pitchFamily="2" charset="0"/>
                          <a:ea typeface="+mn-ea"/>
                          <a:cs typeface="+mn-cs"/>
                        </a:rPr>
                        <a:t>BICICI (Côte d'Ivoire, 2023) : Refonte de la structure du Centre de Relation Client (CRC)</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Définition des orientations stratégiques du CRC</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Mise à niveau opérationnelle du CRC</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Upgrade organisationnel du CRC</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Upgrade technologique du CRC</a:t>
                      </a:r>
                    </a:p>
                    <a:p>
                      <a:pPr marL="266557" lvl="1" indent="0" algn="just" defTabSz="900494">
                        <a:lnSpc>
                          <a:spcPts val="931"/>
                        </a:lnSpc>
                        <a:buClr>
                          <a:srgbClr val="FFE600"/>
                        </a:buClr>
                        <a:buSzPct val="80000"/>
                        <a:buFont typeface="Arial" panose="020B0604020202020204" pitchFamily="34" charset="0"/>
                        <a:buNone/>
                        <a:tabLst>
                          <a:tab pos="193040" algn="l"/>
                        </a:tabLst>
                        <a:defRPr/>
                      </a:pPr>
                      <a:endParaRPr lang="fr-FR" sz="950" u="sng" kern="1200" dirty="0">
                        <a:solidFill>
                          <a:schemeClr val="tx1"/>
                        </a:solidFill>
                        <a:effectLst/>
                        <a:latin typeface="EYInterstate" panose="02000503020000020004" pitchFamily="2" charset="0"/>
                        <a:ea typeface="+mn-ea"/>
                        <a:cs typeface="+mn-cs"/>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Banque Tunisienne (Tunisie, 2021) : Diagnostic stratégique dans le cadre d'une Due diligence</a:t>
                      </a:r>
                    </a:p>
                    <a:p>
                      <a:pPr marL="447436" marR="0" lvl="1" indent="-180879" algn="just" defTabSz="900494" fontAlgn="auto">
                        <a:lnSpc>
                          <a:spcPts val="931"/>
                        </a:lnSpc>
                        <a:spcBef>
                          <a:spcPts val="0"/>
                        </a:spcBef>
                        <a:spcAft>
                          <a:spcPts val="0"/>
                        </a:spcAft>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Evaluation du secteur bancaire tunisien et élaboration d'une analyse stratégique afin d'identifier les forces et les faiblesses de la Banque</a:t>
                      </a:r>
                    </a:p>
                    <a:p>
                      <a:pPr marL="266557" marR="0" lvl="1" indent="0" algn="just" defTabSz="900494" fontAlgn="auto">
                        <a:lnSpc>
                          <a:spcPts val="931"/>
                        </a:lnSpc>
                        <a:spcBef>
                          <a:spcPts val="0"/>
                        </a:spcBef>
                        <a:spcAft>
                          <a:spcPts val="0"/>
                        </a:spcAft>
                        <a:buClr>
                          <a:srgbClr val="FFE600"/>
                        </a:buClr>
                        <a:buSzPct val="80000"/>
                        <a:buFont typeface="Arial" panose="020B0604020202020204" pitchFamily="34" charset="0"/>
                        <a:buNone/>
                        <a:tabLst>
                          <a:tab pos="193040" algn="l"/>
                        </a:tabLst>
                        <a:defRPr/>
                      </a:pPr>
                      <a:endParaRPr lang="fr-FR" sz="900" dirty="0">
                        <a:solidFill>
                          <a:srgbClr val="2E2E38"/>
                        </a:solidFill>
                        <a:latin typeface="EYInterstate" panose="02000503020000020004" pitchFamily="2"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Groupe de la Banque mondiale, ministère des Finances pour la république Tunisienne et Comité Général des Assurances (Tunisie, 2022) :  Pérennisation de la base de données sur l’exposition financières aux catastrophes naturelles en Tunisie </a:t>
                      </a:r>
                      <a:endParaRPr lang="fr-FR" sz="900" dirty="0">
                        <a:solidFill>
                          <a:srgbClr val="2E2E38"/>
                        </a:solidFill>
                        <a:latin typeface="EYInterstate" panose="02000503020000020004" pitchFamily="2" charset="0"/>
                        <a:cs typeface="Arial" panose="020B0604020202020204" pitchFamily="34" charset="0"/>
                      </a:endParaRP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Élaboration d’un rapport de synthèse sur la base de données des Expositions financières de la Tunisie aux Catastrophes naturelles en 2020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Proposition d’une méthodologie pour la mise à jour de la base de données des expositions financières des actifs immobiliers publics et privés en Tunisie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Réalisation d’un premier exercice de mise à jour pour l’année 2023</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Proposition d’un modèle de gouvernance de l’exploitation de la base de données et modalités de son hébergement pour des usages publics</a:t>
                      </a:r>
                    </a:p>
                    <a:p>
                      <a:pPr marL="171272" marR="0" lvl="1" indent="-171272" algn="just" defTabSz="900044" rtl="0" eaLnBrk="1" fontAlgn="auto" latinLnBrk="0" hangingPunct="1">
                        <a:lnSpc>
                          <a:spcPts val="931"/>
                        </a:lnSpc>
                        <a:spcBef>
                          <a:spcPts val="0"/>
                        </a:spcBef>
                        <a:spcAft>
                          <a:spcPts val="0"/>
                        </a:spcAft>
                        <a:buClr>
                          <a:srgbClr val="FFE600"/>
                        </a:buClr>
                        <a:buSzPct val="100000"/>
                        <a:buFont typeface="EYInterstate" panose="02000503020000020004" pitchFamily="2" charset="0"/>
                        <a:buChar char="•"/>
                        <a:tabLst>
                          <a:tab pos="193040" algn="l"/>
                        </a:tabLst>
                        <a:defRPr/>
                      </a:pPr>
                      <a:endParaRPr kumimoji="0" lang="fr-FR" sz="1050" b="1"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BNP Paribas</a:t>
                      </a:r>
                      <a:r>
                        <a:rPr lang="fr-FR" sz="950" u="sng" kern="1200" noProof="0" dirty="0">
                          <a:solidFill>
                            <a:schemeClr val="tx1"/>
                          </a:solidFill>
                          <a:effectLst/>
                          <a:latin typeface="EYInterstate" panose="02000503020000020004" pitchFamily="2" charset="0"/>
                          <a:ea typeface="+mn-ea"/>
                          <a:cs typeface="+mn-cs"/>
                          <a:sym typeface="+mn-ea"/>
                        </a:rPr>
                        <a:t> (Côte d’Ivoire, 2022) : Projet de robotisation (RPA)</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Diagnostic du processu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Identification des opérations robotisable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Développement des POV (Proof of value) pour les robots proposé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Rédaction des spécifications fonctionnelles des robots (User story)</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Suivi avec l'équipe informatique pour assurer la conformité avec les spécifications définies (tests)</a:t>
                      </a:r>
                    </a:p>
                    <a:p>
                      <a:pPr marL="266423" marR="0" lvl="1" algn="just" defTabSz="900044" rtl="0" eaLnBrk="1" fontAlgn="auto" latinLnBrk="0" hangingPunct="1">
                        <a:lnSpc>
                          <a:spcPts val="931"/>
                        </a:lnSpc>
                        <a:spcBef>
                          <a:spcPts val="0"/>
                        </a:spcBef>
                        <a:spcAft>
                          <a:spcPts val="0"/>
                        </a:spcAft>
                        <a:buClr>
                          <a:srgbClr val="FFE600"/>
                        </a:buClr>
                        <a:buSzPct val="80000"/>
                        <a:tabLst>
                          <a:tab pos="192943" algn="l"/>
                        </a:tabLst>
                        <a:defRPr/>
                      </a:pPr>
                      <a:endPar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BICICI </a:t>
                      </a:r>
                      <a:r>
                        <a:rPr lang="fr-FR" sz="950" u="sng" kern="1200" noProof="0" dirty="0">
                          <a:solidFill>
                            <a:schemeClr val="tx1"/>
                          </a:solidFill>
                          <a:effectLst/>
                          <a:latin typeface="EYInterstate" panose="02000503020000020004" pitchFamily="2" charset="0"/>
                          <a:ea typeface="+mn-ea"/>
                          <a:cs typeface="+mn-cs"/>
                          <a:sym typeface="+mn-ea"/>
                        </a:rPr>
                        <a:t>(Côte d’Ivoire, 2023) : Projet de robotisation (RPA) et implémentation de solution IA</a:t>
                      </a:r>
                      <a:endParaRPr kumimoji="0" lang="fr-FR" sz="1050" b="1"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sym typeface="+mn-ea"/>
                      </a:endParaRP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Diagnostic du processu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Identification des opérations robotisable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Développement des POV (Proof of value) pour les robots proposés</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Rédaction des spécifications fonctionnelles des robots (User story)</a:t>
                      </a: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kumimoji="0" lang="fr-FR" sz="10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rPr>
                        <a:t>Suivi avec l'équipe informatique pour assurer la conformité avec les spécifications définies (tests)</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1000" dirty="0">
                          <a:solidFill>
                            <a:srgbClr val="2E2E38"/>
                          </a:solidFill>
                          <a:latin typeface="EYInterstate" panose="02000503020000020004" pitchFamily="2" charset="0"/>
                          <a:cs typeface="Arial" panose="020B0604020202020204" pitchFamily="34" charset="0"/>
                        </a:rPr>
                        <a:t>Conception et développement de la plateforme (AI Engine) </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1000" dirty="0">
                          <a:solidFill>
                            <a:srgbClr val="2E2E38"/>
                          </a:solidFill>
                          <a:latin typeface="EYInterstate" panose="02000503020000020004" pitchFamily="2" charset="0"/>
                          <a:cs typeface="Arial" panose="020B0604020202020204" pitchFamily="34" charset="0"/>
                        </a:rPr>
                        <a:t>Développement de la plateforme à travers la supervision de l'équipe de développement</a:t>
                      </a:r>
                      <a:endParaRPr lang="fr-FR" sz="900" dirty="0">
                        <a:solidFill>
                          <a:srgbClr val="2E2E38"/>
                        </a:solidFill>
                        <a:latin typeface="EYInterstate" panose="02000503020000020004" pitchFamily="2"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en-US" sz="950" u="sng" kern="1200" dirty="0">
                        <a:solidFill>
                          <a:schemeClr val="tx1"/>
                        </a:solidFill>
                        <a:effectLst/>
                        <a:latin typeface="EYInterstate" panose="02000503020000020004" pitchFamily="2" charset="0"/>
                        <a:ea typeface="+mn-ea"/>
                        <a:cs typeface="+mn-cs"/>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en-US" sz="950" u="sng" kern="1200" dirty="0">
                          <a:solidFill>
                            <a:schemeClr val="tx1"/>
                          </a:solidFill>
                          <a:effectLst/>
                          <a:latin typeface="EYInterstate" panose="02000503020000020004" pitchFamily="2" charset="0"/>
                          <a:ea typeface="+mn-ea"/>
                          <a:cs typeface="+mn-cs"/>
                        </a:rPr>
                        <a:t>FTUSA (Tunisie, 2018) </a:t>
                      </a:r>
                      <a:r>
                        <a:rPr lang="en-US" sz="950" u="sng" kern="1200" dirty="0">
                          <a:solidFill>
                            <a:schemeClr val="tx1"/>
                          </a:solidFill>
                          <a:effectLst/>
                          <a:latin typeface="EYInterstate" panose="02000503020000020004" pitchFamily="2" charset="0"/>
                          <a:ea typeface="+mn-ea"/>
                          <a:cs typeface="+mn-cs"/>
                          <a:sym typeface="Wingdings" pitchFamily="2" charset="2"/>
                        </a:rPr>
                        <a:t>: </a:t>
                      </a:r>
                      <a:r>
                        <a:rPr lang="fr-FR" sz="950" u="sng" kern="1200" dirty="0">
                          <a:solidFill>
                            <a:schemeClr val="tx1"/>
                          </a:solidFill>
                          <a:effectLst/>
                          <a:latin typeface="EYInterstate" panose="02000503020000020004" pitchFamily="2" charset="0"/>
                          <a:ea typeface="+mn-ea"/>
                          <a:cs typeface="+mn-cs"/>
                          <a:sym typeface="Wingdings" pitchFamily="2" charset="2"/>
                        </a:rPr>
                        <a:t>Domaines de développement du secteur de l'assurance en Tunisie</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Analyse des domaines d'amélioration du secteur de l'assurance en Tunisie (numérique, assurance obligatoire, assurance Vie, lutte contre la fraude, capitalisation et assurance-crédit)</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Analyse des références et étude des meilleures pratiques pour la réforme du cadre juridique régissant le secteur de l'assurance en Tunisie</a:t>
                      </a:r>
                    </a:p>
                    <a:p>
                      <a:pPr marL="447436" lvl="1" indent="-180879" algn="just" defTabSz="900494">
                        <a:lnSpc>
                          <a:spcPts val="931"/>
                        </a:lnSpc>
                        <a:buClr>
                          <a:srgbClr val="FFE600"/>
                        </a:buClr>
                        <a:buSzPct val="80000"/>
                        <a:buFont typeface="Arial" panose="020B0604020202020204" pitchFamily="34" charset="0"/>
                        <a:buChar char="•"/>
                        <a:tabLst>
                          <a:tab pos="193040" algn="l"/>
                        </a:tabLst>
                        <a:defRPr/>
                      </a:pPr>
                      <a:r>
                        <a:rPr lang="fr-FR" sz="900" dirty="0">
                          <a:solidFill>
                            <a:srgbClr val="2E2E38"/>
                          </a:solidFill>
                          <a:latin typeface="EYInterstate" panose="02000503020000020004" pitchFamily="2" charset="0"/>
                          <a:cs typeface="Arial" panose="020B0604020202020204" pitchFamily="34" charset="0"/>
                        </a:rPr>
                        <a:t>Synthèse des travaux et formalisation des impacts juridiqu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1097780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686241-48E6-40A9-63DD-D2659890A500}"/>
              </a:ext>
            </a:extLst>
          </p:cNvPr>
          <p:cNvSpPr/>
          <p:nvPr/>
        </p:nvSpPr>
        <p:spPr>
          <a:xfrm>
            <a:off x="549275" y="518600"/>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 linguistiques</a:t>
            </a:r>
            <a:r>
              <a:rPr lang="en-GB" sz="900" b="1"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 de l'expert</a:t>
            </a:r>
            <a:r>
              <a:rPr lang="en-GB" sz="900" b="1"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Firas.El.mMehdi@tn.ey.com</a:t>
            </a: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Téléphone : +216 </a:t>
            </a: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29 925 328</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74306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260F7ABA40E741A018D58119363136" ma:contentTypeVersion="14" ma:contentTypeDescription="Create a new document." ma:contentTypeScope="" ma:versionID="96b87ee44d4b17b461862e4754b84d01">
  <xsd:schema xmlns:xsd="http://www.w3.org/2001/XMLSchema" xmlns:xs="http://www.w3.org/2001/XMLSchema" xmlns:p="http://schemas.microsoft.com/office/2006/metadata/properties" xmlns:ns3="b7085f95-77be-476b-b6ea-c7e6441f81fe" xmlns:ns4="788a31f4-702f-457d-96ae-64a42d52c277" targetNamespace="http://schemas.microsoft.com/office/2006/metadata/properties" ma:root="true" ma:fieldsID="9f3e908c15d9bad907c35d3f6838ddd8" ns3:_="" ns4:_="">
    <xsd:import namespace="b7085f95-77be-476b-b6ea-c7e6441f81fe"/>
    <xsd:import namespace="788a31f4-702f-457d-96ae-64a42d52c277"/>
    <xsd:element name="properties">
      <xsd:complexType>
        <xsd:sequence>
          <xsd:element name="documentManagement">
            <xsd:complexType>
              <xsd:all>
                <xsd:element ref="ns3:MediaServiceMetadata" minOccurs="0"/>
                <xsd:element ref="ns3:MediaServiceFastMetadata"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Location" minOccurs="0"/>
                <xsd:element ref="ns3:_activity"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085f95-77be-476b-b6ea-c7e6441f81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88a31f4-702f-457d-96ae-64a42d52c27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b7085f95-77be-476b-b6ea-c7e6441f81f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6B5266-B4C9-48E0-962C-10E5D4789E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085f95-77be-476b-b6ea-c7e6441f81fe"/>
    <ds:schemaRef ds:uri="788a31f4-702f-457d-96ae-64a42d52c2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4FB8C6-59A3-4585-ADB4-62FF25041015}">
  <ds:schemaRefs>
    <ds:schemaRef ds:uri="http://www.w3.org/XML/1998/namespace"/>
    <ds:schemaRef ds:uri="http://purl.org/dc/elements/1.1/"/>
    <ds:schemaRef ds:uri="http://schemas.openxmlformats.org/package/2006/metadata/core-properties"/>
    <ds:schemaRef ds:uri="http://purl.org/dc/dcmitype/"/>
    <ds:schemaRef ds:uri="788a31f4-702f-457d-96ae-64a42d52c277"/>
    <ds:schemaRef ds:uri="http://schemas.microsoft.com/office/2006/documentManagement/types"/>
    <ds:schemaRef ds:uri="http://schemas.microsoft.com/office/infopath/2007/PartnerControls"/>
    <ds:schemaRef ds:uri="b7085f95-77be-476b-b6ea-c7e6441f81fe"/>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39FDF92C-946B-4FDF-96F0-012380588F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411</TotalTime>
  <Words>1369</Words>
  <Application>Microsoft Office PowerPoint</Application>
  <PresentationFormat>A4 Paper (210x297 mm)</PresentationFormat>
  <Paragraphs>362</Paragraphs>
  <Slides>4</Slides>
  <Notes>0</Notes>
  <HiddenSlides>0</HiddenSlides>
  <MMClips>0</MMClips>
  <ScaleCrop>false</ScaleCrop>
  <HeadingPairs>
    <vt:vector size="4" baseType="variant">
      <vt:variant>
        <vt:lpstr>Theme</vt:lpstr>
      </vt:variant>
      <vt:variant>
        <vt:i4>2</vt:i4>
      </vt:variant>
      <vt:variant>
        <vt:lpstr>Slide Titles</vt:lpstr>
      </vt:variant>
      <vt:variant>
        <vt:i4>4</vt:i4>
      </vt:variant>
    </vt:vector>
  </HeadingPairs>
  <TitlesOfParts>
    <vt:vector size="6" baseType="lpstr">
      <vt:lpstr>Office Theme</vt:lpstr>
      <vt:lpstr>EY dark background</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Aya Engazou</cp:lastModifiedBy>
  <cp:revision>373</cp:revision>
  <dcterms:created xsi:type="dcterms:W3CDTF">2021-08-27T11:28:35Z</dcterms:created>
  <dcterms:modified xsi:type="dcterms:W3CDTF">2024-04-25T15:5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260F7ABA40E741A018D58119363136</vt:lpwstr>
  </property>
</Properties>
</file>